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435" r:id="rId2"/>
    <p:sldId id="442" r:id="rId3"/>
    <p:sldId id="441" r:id="rId4"/>
    <p:sldId id="443" r:id="rId5"/>
    <p:sldId id="444" r:id="rId6"/>
    <p:sldId id="447" r:id="rId7"/>
    <p:sldId id="445" r:id="rId8"/>
    <p:sldId id="446" r:id="rId9"/>
    <p:sldId id="448" r:id="rId10"/>
    <p:sldId id="449" r:id="rId11"/>
    <p:sldId id="450" r:id="rId12"/>
    <p:sldId id="419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B7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1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1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compose/compose-file" TargetMode="External"/><Relationship Id="rId4" Type="http://schemas.openxmlformats.org/officeDocument/2006/relationships/hyperlink" Target="https://docs.docker.com/compose/reference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86" y="1329050"/>
            <a:ext cx="3809910" cy="375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9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3756922" y="1935078"/>
            <a:ext cx="7520678" cy="40005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988" y="1935078"/>
            <a:ext cx="3809910" cy="3750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129883" y="310582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9129883" y="4111930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9129883" y="5118031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5729379" y="3239087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9317721" y="320470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317720" y="421080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317719" y="5216908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754151" y="455785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529989" y="2142424"/>
            <a:ext cx="23519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Images from </a:t>
            </a:r>
            <a:r>
              <a:rPr lang="en-US" i="1" smtClean="0"/>
              <a:t>registry </a:t>
            </a:r>
            <a:br>
              <a:rPr lang="en-US" i="1" smtClean="0"/>
            </a:br>
            <a:r>
              <a:rPr lang="en-US" i="1" smtClean="0"/>
              <a:t>or local repo</a:t>
            </a:r>
            <a:endParaRPr lang="en-US" i="1"/>
          </a:p>
        </p:txBody>
      </p:sp>
      <p:sp>
        <p:nvSpPr>
          <p:cNvPr id="17" name="TextBox 16"/>
          <p:cNvSpPr txBox="1"/>
          <p:nvPr/>
        </p:nvSpPr>
        <p:spPr>
          <a:xfrm>
            <a:off x="5704607" y="33184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ockerfile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729379" y="46933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ockerfil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493147" y="2142424"/>
            <a:ext cx="17107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Recipe to build</a:t>
            </a:r>
            <a:br>
              <a:rPr lang="en-US" i="1" dirty="0" smtClean="0"/>
            </a:br>
            <a:r>
              <a:rPr lang="en-US" i="1" dirty="0" smtClean="0"/>
              <a:t>an image</a:t>
            </a:r>
            <a:endParaRPr lang="en-US" i="1" dirty="0"/>
          </a:p>
        </p:txBody>
      </p:sp>
      <p:sp>
        <p:nvSpPr>
          <p:cNvPr id="20" name="Oval 19"/>
          <p:cNvSpPr/>
          <p:nvPr/>
        </p:nvSpPr>
        <p:spPr>
          <a:xfrm>
            <a:off x="5898453" y="4454887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5998664" y="3127535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9004346" y="427626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9001490" y="5282361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Oval 24"/>
          <p:cNvSpPr/>
          <p:nvPr/>
        </p:nvSpPr>
        <p:spPr>
          <a:xfrm>
            <a:off x="8996590" y="325252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42476" y="42058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Port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5998664" y="3822414"/>
            <a:ext cx="9517" cy="63247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997932" y="385508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Link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449910" y="3127534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36" name="Straight Arrow Connector 35"/>
          <p:cNvCxnSpPr>
            <a:stCxn id="10" idx="3"/>
            <a:endCxn id="25" idx="2"/>
          </p:cNvCxnSpPr>
          <p:nvPr/>
        </p:nvCxnSpPr>
        <p:spPr>
          <a:xfrm flipV="1">
            <a:off x="6918099" y="3371733"/>
            <a:ext cx="2078491" cy="15089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7" idx="3"/>
            <a:endCxn id="23" idx="2"/>
          </p:cNvCxnSpPr>
          <p:nvPr/>
        </p:nvCxnSpPr>
        <p:spPr>
          <a:xfrm>
            <a:off x="6915195" y="3503078"/>
            <a:ext cx="2089151" cy="89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8" idx="3"/>
            <a:endCxn id="24" idx="2"/>
          </p:cNvCxnSpPr>
          <p:nvPr/>
        </p:nvCxnSpPr>
        <p:spPr>
          <a:xfrm>
            <a:off x="6939967" y="4877978"/>
            <a:ext cx="2061523" cy="52359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26" idx="3"/>
          </p:cNvCxnSpPr>
          <p:nvPr/>
        </p:nvCxnSpPr>
        <p:spPr>
          <a:xfrm flipH="1" flipV="1">
            <a:off x="6765751" y="4390521"/>
            <a:ext cx="2361228" cy="18466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5493147" y="464518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4" name="Right Arrow 53"/>
          <p:cNvSpPr/>
          <p:nvPr/>
        </p:nvSpPr>
        <p:spPr>
          <a:xfrm flipH="1">
            <a:off x="10319883" y="3204706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5" name="Right Arrow 54"/>
          <p:cNvSpPr/>
          <p:nvPr/>
        </p:nvSpPr>
        <p:spPr>
          <a:xfrm flipH="1">
            <a:off x="10319883" y="4209303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6" name="Right Arrow 55"/>
          <p:cNvSpPr/>
          <p:nvPr/>
        </p:nvSpPr>
        <p:spPr>
          <a:xfrm flipH="1">
            <a:off x="10318598" y="5228438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7" name="Right Arrow 56"/>
          <p:cNvSpPr/>
          <p:nvPr/>
        </p:nvSpPr>
        <p:spPr>
          <a:xfrm>
            <a:off x="5437015" y="333057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8" name="TextBox 57"/>
          <p:cNvSpPr txBox="1"/>
          <p:nvPr/>
        </p:nvSpPr>
        <p:spPr>
          <a:xfrm>
            <a:off x="3917371" y="3176083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Startup CMD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&amp; ENVVAR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6893663" y="3144889"/>
            <a:ext cx="2220411" cy="176610"/>
          </a:xfrm>
          <a:prstGeom prst="straightConnector1">
            <a:avLst/>
          </a:prstGeom>
          <a:ln w="31750" cmpd="sng">
            <a:solidFill>
              <a:schemeClr val="tx2"/>
            </a:solidFill>
            <a:prstDash val="sysDot"/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21384905">
            <a:off x="6891438" y="2788024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Startup dependency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3" name="Can 62"/>
          <p:cNvSpPr/>
          <p:nvPr/>
        </p:nvSpPr>
        <p:spPr>
          <a:xfrm>
            <a:off x="4430936" y="3985560"/>
            <a:ext cx="642273" cy="355700"/>
          </a:xfrm>
          <a:prstGeom prst="ca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64" name="Straight Arrow Connector 63"/>
          <p:cNvCxnSpPr/>
          <p:nvPr/>
        </p:nvCxnSpPr>
        <p:spPr>
          <a:xfrm flipH="1">
            <a:off x="5107504" y="3814294"/>
            <a:ext cx="639719" cy="24091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223321" y="4341260"/>
            <a:ext cx="1069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Volum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8" name="Rechteck 11"/>
          <p:cNvSpPr/>
          <p:nvPr/>
        </p:nvSpPr>
        <p:spPr>
          <a:xfrm>
            <a:off x="5073209" y="5987281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9" name="Rechteck 10"/>
          <p:cNvSpPr/>
          <p:nvPr/>
        </p:nvSpPr>
        <p:spPr>
          <a:xfrm>
            <a:off x="5073209" y="6294467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499197" y="1084743"/>
            <a:ext cx="1147944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version: '2' </a:t>
            </a:r>
            <a:endParaRPr lang="en-US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1600" dirty="0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  <a:endParaRPr lang="de-DE" sz="1600" b="1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 smtClean="0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imag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gliderlab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consul-server:0.6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mman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"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ata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dir 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m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bootstrap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xpec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1 -server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i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nod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=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server"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nvironmen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GOMAXPROCS=10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300:8300"  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Server RPC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addres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3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500:8500"     #http - The HTTP API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5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600:8600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d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"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n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The DNS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600.</a:t>
            </a:r>
          </a:p>
          <a:p>
            <a:pPr lvl="1"/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>
                <a:latin typeface="Source Code Pro" charset="0"/>
                <a:ea typeface="Source Code Pro" charset="0"/>
                <a:cs typeface="Source Code Pro" charset="0"/>
              </a:rPr>
              <a:t>zwitscher-chuck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buil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endParaRPr lang="de-DE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context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../..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zwitscher-app-chuck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12340:12340"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huck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REST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ice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links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10029" y="5320463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34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6</TotalTime>
  <Words>354</Words>
  <Application>Microsoft Macintosh PowerPoint</Application>
  <PresentationFormat>Widescreen</PresentationFormat>
  <Paragraphs>123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 Narrow</vt:lpstr>
      <vt:lpstr>Calibri</vt:lpstr>
      <vt:lpstr>Cambria Math</vt:lpstr>
      <vt:lpstr>Lucida Grande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The Cloud Native Stack</vt:lpstr>
      <vt:lpstr>Docker Compose</vt:lpstr>
      <vt:lpstr>Docker Compose Overview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3</cp:revision>
  <dcterms:created xsi:type="dcterms:W3CDTF">2014-10-08T07:51:16Z</dcterms:created>
  <dcterms:modified xsi:type="dcterms:W3CDTF">2016-10-31T19:25:19Z</dcterms:modified>
</cp:coreProperties>
</file>